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42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66" d="100"/>
          <a:sy n="66" d="100"/>
        </p:scale>
        <p:origin x="636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9B169AA-EA7F-4E39-860E-81A9AEF4B071}" type="datetimeFigureOut">
              <a:rPr lang="zh-CN" altLang="en-US" smtClean="0"/>
              <a:t>2025/9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F17BB4E-A12B-4EB5-8314-1F54CB71788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031618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37085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7342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8213598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318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1561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806981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089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574204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" name="Freihandform: Form 5">
            <a:extLst>
              <a:ext uri="{FF2B5EF4-FFF2-40B4-BE49-F238E27FC236}">
                <a16:creationId xmlns:a16="http://schemas.microsoft.com/office/drawing/2014/main" id="{1AB33866-B486-8F19-FB6E-4D2A3AB1258C}"/>
              </a:ext>
            </a:extLst>
          </p:cNvPr>
          <p:cNvSpPr>
            <a:spLocks/>
          </p:cNvSpPr>
          <p:nvPr/>
        </p:nvSpPr>
        <p:spPr bwMode="gray">
          <a:xfrm>
            <a:off x="8706091" y="1997017"/>
            <a:ext cx="2006844" cy="1003421"/>
          </a:xfrm>
          <a:custGeom>
            <a:avLst/>
            <a:gdLst>
              <a:gd name="connsiteX0" fmla="*/ 901363 w 1802726"/>
              <a:gd name="connsiteY0" fmla="*/ 0 h 901362"/>
              <a:gd name="connsiteX1" fmla="*/ 1802726 w 1802726"/>
              <a:gd name="connsiteY1" fmla="*/ 901362 h 901362"/>
              <a:gd name="connsiteX2" fmla="*/ 0 w 1802726"/>
              <a:gd name="connsiteY2" fmla="*/ 901362 h 901362"/>
              <a:gd name="connsiteX3" fmla="*/ 901363 w 1802726"/>
              <a:gd name="connsiteY3" fmla="*/ 0 h 901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2726" h="901362">
                <a:moveTo>
                  <a:pt x="901363" y="0"/>
                </a:moveTo>
                <a:cubicBezTo>
                  <a:pt x="1399172" y="0"/>
                  <a:pt x="1802726" y="403554"/>
                  <a:pt x="1802726" y="901362"/>
                </a:cubicBezTo>
                <a:lnTo>
                  <a:pt x="0" y="901362"/>
                </a:lnTo>
                <a:cubicBezTo>
                  <a:pt x="0" y="403554"/>
                  <a:pt x="403554" y="0"/>
                  <a:pt x="901363" y="0"/>
                </a:cubicBezTo>
                <a:close/>
              </a:path>
            </a:pathLst>
          </a:custGeom>
          <a:solidFill>
            <a:schemeClr val="bg1"/>
          </a:solidFill>
          <a:ln w="6350" cap="rnd">
            <a:solidFill>
              <a:schemeClr val="accent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117667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9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" name="Freihandform: Form 6">
            <a:extLst>
              <a:ext uri="{FF2B5EF4-FFF2-40B4-BE49-F238E27FC236}">
                <a16:creationId xmlns:a16="http://schemas.microsoft.com/office/drawing/2014/main" id="{056B7D71-D1ED-BB6D-B792-233884913AC0}"/>
              </a:ext>
            </a:extLst>
          </p:cNvPr>
          <p:cNvSpPr>
            <a:spLocks/>
          </p:cNvSpPr>
          <p:nvPr/>
        </p:nvSpPr>
        <p:spPr bwMode="gray">
          <a:xfrm>
            <a:off x="7263188" y="1997017"/>
            <a:ext cx="2006844" cy="1003421"/>
          </a:xfrm>
          <a:custGeom>
            <a:avLst/>
            <a:gdLst>
              <a:gd name="connsiteX0" fmla="*/ 901363 w 1802726"/>
              <a:gd name="connsiteY0" fmla="*/ 0 h 901362"/>
              <a:gd name="connsiteX1" fmla="*/ 1802726 w 1802726"/>
              <a:gd name="connsiteY1" fmla="*/ 901362 h 901362"/>
              <a:gd name="connsiteX2" fmla="*/ 0 w 1802726"/>
              <a:gd name="connsiteY2" fmla="*/ 901362 h 901362"/>
              <a:gd name="connsiteX3" fmla="*/ 901363 w 1802726"/>
              <a:gd name="connsiteY3" fmla="*/ 0 h 901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2726" h="901362">
                <a:moveTo>
                  <a:pt x="901363" y="0"/>
                </a:moveTo>
                <a:cubicBezTo>
                  <a:pt x="1399172" y="0"/>
                  <a:pt x="1802726" y="403554"/>
                  <a:pt x="1802726" y="901362"/>
                </a:cubicBezTo>
                <a:lnTo>
                  <a:pt x="0" y="901362"/>
                </a:lnTo>
                <a:cubicBezTo>
                  <a:pt x="0" y="403554"/>
                  <a:pt x="403554" y="0"/>
                  <a:pt x="901363" y="0"/>
                </a:cubicBezTo>
                <a:close/>
              </a:path>
            </a:pathLst>
          </a:custGeom>
          <a:solidFill>
            <a:schemeClr val="accent1"/>
          </a:solidFill>
          <a:ln w="9525" cap="rnd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117667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9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" name="Freihandform: Form 7">
            <a:extLst>
              <a:ext uri="{FF2B5EF4-FFF2-40B4-BE49-F238E27FC236}">
                <a16:creationId xmlns:a16="http://schemas.microsoft.com/office/drawing/2014/main" id="{A8F4DE95-9404-7884-B7D1-C603AE82BAA3}"/>
              </a:ext>
            </a:extLst>
          </p:cNvPr>
          <p:cNvSpPr>
            <a:spLocks/>
          </p:cNvSpPr>
          <p:nvPr/>
        </p:nvSpPr>
        <p:spPr bwMode="gray">
          <a:xfrm>
            <a:off x="1912942" y="2044155"/>
            <a:ext cx="1912567" cy="956282"/>
          </a:xfrm>
          <a:custGeom>
            <a:avLst/>
            <a:gdLst>
              <a:gd name="connsiteX0" fmla="*/ 859019 w 1718038"/>
              <a:gd name="connsiteY0" fmla="*/ 0 h 859018"/>
              <a:gd name="connsiteX1" fmla="*/ 1700586 w 1718038"/>
              <a:gd name="connsiteY1" fmla="*/ 685897 h 859018"/>
              <a:gd name="connsiteX2" fmla="*/ 1718038 w 1718038"/>
              <a:gd name="connsiteY2" fmla="*/ 859018 h 859018"/>
              <a:gd name="connsiteX3" fmla="*/ 0 w 1718038"/>
              <a:gd name="connsiteY3" fmla="*/ 859018 h 859018"/>
              <a:gd name="connsiteX4" fmla="*/ 17453 w 1718038"/>
              <a:gd name="connsiteY4" fmla="*/ 685897 h 859018"/>
              <a:gd name="connsiteX5" fmla="*/ 859019 w 1718038"/>
              <a:gd name="connsiteY5" fmla="*/ 0 h 85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18038" h="859018">
                <a:moveTo>
                  <a:pt x="859019" y="0"/>
                </a:moveTo>
                <a:cubicBezTo>
                  <a:pt x="1274139" y="0"/>
                  <a:pt x="1620486" y="294456"/>
                  <a:pt x="1700586" y="685897"/>
                </a:cubicBezTo>
                <a:lnTo>
                  <a:pt x="1718038" y="859018"/>
                </a:lnTo>
                <a:lnTo>
                  <a:pt x="0" y="859018"/>
                </a:lnTo>
                <a:lnTo>
                  <a:pt x="17453" y="685897"/>
                </a:lnTo>
                <a:cubicBezTo>
                  <a:pt x="97553" y="294456"/>
                  <a:pt x="443899" y="0"/>
                  <a:pt x="859019" y="0"/>
                </a:cubicBezTo>
                <a:close/>
              </a:path>
            </a:pathLst>
          </a:custGeom>
          <a:solidFill>
            <a:schemeClr val="accent1"/>
          </a:solidFill>
          <a:ln w="9525" cap="rnd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117667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9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" name="Freihandform: Form 8">
            <a:extLst>
              <a:ext uri="{FF2B5EF4-FFF2-40B4-BE49-F238E27FC236}">
                <a16:creationId xmlns:a16="http://schemas.microsoft.com/office/drawing/2014/main" id="{5E1BAED7-8156-EA5F-96E2-B117425CDDE8}"/>
              </a:ext>
            </a:extLst>
          </p:cNvPr>
          <p:cNvSpPr>
            <a:spLocks/>
          </p:cNvSpPr>
          <p:nvPr/>
        </p:nvSpPr>
        <p:spPr bwMode="gray">
          <a:xfrm>
            <a:off x="3563639" y="1557338"/>
            <a:ext cx="2886202" cy="1443100"/>
          </a:xfrm>
          <a:custGeom>
            <a:avLst/>
            <a:gdLst>
              <a:gd name="connsiteX0" fmla="*/ 1296322 w 2592644"/>
              <a:gd name="connsiteY0" fmla="*/ 0 h 1296321"/>
              <a:gd name="connsiteX1" fmla="*/ 2592644 w 2592644"/>
              <a:gd name="connsiteY1" fmla="*/ 1296321 h 1296321"/>
              <a:gd name="connsiteX2" fmla="*/ 0 w 2592644"/>
              <a:gd name="connsiteY2" fmla="*/ 1296321 h 1296321"/>
              <a:gd name="connsiteX3" fmla="*/ 1296322 w 2592644"/>
              <a:gd name="connsiteY3" fmla="*/ 0 h 12963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2644" h="1296321">
                <a:moveTo>
                  <a:pt x="1296322" y="0"/>
                </a:moveTo>
                <a:cubicBezTo>
                  <a:pt x="2012261" y="0"/>
                  <a:pt x="2592644" y="580383"/>
                  <a:pt x="2592644" y="1296321"/>
                </a:cubicBezTo>
                <a:lnTo>
                  <a:pt x="0" y="1296321"/>
                </a:lnTo>
                <a:cubicBezTo>
                  <a:pt x="0" y="580383"/>
                  <a:pt x="580383" y="0"/>
                  <a:pt x="1296322" y="0"/>
                </a:cubicBezTo>
                <a:close/>
              </a:path>
            </a:pathLst>
          </a:custGeom>
          <a:solidFill>
            <a:schemeClr val="bg1"/>
          </a:solidFill>
          <a:ln w="6350" cap="rnd">
            <a:solidFill>
              <a:schemeClr val="accent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117667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9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" name="Freihandform: Form 9">
            <a:extLst>
              <a:ext uri="{FF2B5EF4-FFF2-40B4-BE49-F238E27FC236}">
                <a16:creationId xmlns:a16="http://schemas.microsoft.com/office/drawing/2014/main" id="{39A3C73A-2A8D-D155-18C0-96F82D6171D5}"/>
              </a:ext>
            </a:extLst>
          </p:cNvPr>
          <p:cNvSpPr>
            <a:spLocks/>
          </p:cNvSpPr>
          <p:nvPr/>
        </p:nvSpPr>
        <p:spPr bwMode="gray">
          <a:xfrm>
            <a:off x="6200136" y="2279291"/>
            <a:ext cx="1442296" cy="721147"/>
          </a:xfrm>
          <a:custGeom>
            <a:avLst/>
            <a:gdLst>
              <a:gd name="connsiteX0" fmla="*/ 647799 w 1295598"/>
              <a:gd name="connsiteY0" fmla="*/ 0 h 647798"/>
              <a:gd name="connsiteX1" fmla="*/ 1282437 w 1295598"/>
              <a:gd name="connsiteY1" fmla="*/ 517245 h 647798"/>
              <a:gd name="connsiteX2" fmla="*/ 1295598 w 1295598"/>
              <a:gd name="connsiteY2" fmla="*/ 647798 h 647798"/>
              <a:gd name="connsiteX3" fmla="*/ 0 w 1295598"/>
              <a:gd name="connsiteY3" fmla="*/ 647798 h 647798"/>
              <a:gd name="connsiteX4" fmla="*/ 13161 w 1295598"/>
              <a:gd name="connsiteY4" fmla="*/ 517245 h 647798"/>
              <a:gd name="connsiteX5" fmla="*/ 647799 w 1295598"/>
              <a:gd name="connsiteY5" fmla="*/ 0 h 647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95598" h="647798">
                <a:moveTo>
                  <a:pt x="647799" y="0"/>
                </a:moveTo>
                <a:cubicBezTo>
                  <a:pt x="960848" y="0"/>
                  <a:pt x="1222033" y="222054"/>
                  <a:pt x="1282437" y="517245"/>
                </a:cubicBezTo>
                <a:lnTo>
                  <a:pt x="1295598" y="647798"/>
                </a:lnTo>
                <a:lnTo>
                  <a:pt x="0" y="647798"/>
                </a:lnTo>
                <a:lnTo>
                  <a:pt x="13161" y="517245"/>
                </a:lnTo>
                <a:cubicBezTo>
                  <a:pt x="73566" y="222054"/>
                  <a:pt x="334751" y="0"/>
                  <a:pt x="647799" y="0"/>
                </a:cubicBezTo>
                <a:close/>
              </a:path>
            </a:pathLst>
          </a:custGeom>
          <a:solidFill>
            <a:schemeClr val="bg2"/>
          </a:solidFill>
          <a:ln w="9525" cap="rnd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117667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98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0247B082-918F-D91B-71A0-286021A26F41}"/>
              </a:ext>
            </a:extLst>
          </p:cNvPr>
          <p:cNvSpPr>
            <a:spLocks/>
          </p:cNvSpPr>
          <p:nvPr/>
        </p:nvSpPr>
        <p:spPr bwMode="gray">
          <a:xfrm>
            <a:off x="9398372" y="2703657"/>
            <a:ext cx="1186222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marL="0" marR="0" lvl="0" indent="0" algn="ctr" defTabSz="9789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table_title_5}</a:t>
            </a:r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FB1B6A90-B88F-DB39-E769-06FFA2C5B50C}"/>
              </a:ext>
            </a:extLst>
          </p:cNvPr>
          <p:cNvSpPr>
            <a:spLocks/>
          </p:cNvSpPr>
          <p:nvPr/>
        </p:nvSpPr>
        <p:spPr bwMode="gray">
          <a:xfrm>
            <a:off x="7672702" y="2703658"/>
            <a:ext cx="1187826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marL="0" marR="0" lvl="0" indent="0" algn="ctr" defTabSz="9789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table_title_4}</a:t>
            </a:r>
          </a:p>
        </p:txBody>
      </p:sp>
      <p:sp>
        <p:nvSpPr>
          <p:cNvPr id="12" name="Rectangle 3">
            <a:extLst>
              <a:ext uri="{FF2B5EF4-FFF2-40B4-BE49-F238E27FC236}">
                <a16:creationId xmlns:a16="http://schemas.microsoft.com/office/drawing/2014/main" id="{3127C0FA-14BE-D14E-4438-0658A3FB6D04}"/>
              </a:ext>
            </a:extLst>
          </p:cNvPr>
          <p:cNvSpPr>
            <a:spLocks/>
          </p:cNvSpPr>
          <p:nvPr/>
        </p:nvSpPr>
        <p:spPr bwMode="gray">
          <a:xfrm>
            <a:off x="6329776" y="2703657"/>
            <a:ext cx="1183017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lvl="0" algn="ctr" defTabSz="978998">
              <a:defRPr/>
            </a:pPr>
            <a:r>
              <a:rPr lang="en-US" altLang="zh-CN" sz="1400" dirty="0">
                <a:solidFill>
                  <a:schemeClr val="bg2">
                    <a:lumMod val="10000"/>
                  </a:schemeClr>
                </a:solidFill>
              </a:rPr>
              <a:t>{table_title_3}</a:t>
            </a: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E1473259-FCA5-656A-821F-4DD536DF1AA5}"/>
              </a:ext>
            </a:extLst>
          </p:cNvPr>
          <p:cNvSpPr>
            <a:spLocks/>
          </p:cNvSpPr>
          <p:nvPr/>
        </p:nvSpPr>
        <p:spPr bwMode="gray">
          <a:xfrm>
            <a:off x="4414435" y="2703658"/>
            <a:ext cx="1184620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marL="0" marR="0" lvl="0" indent="0" algn="ctr" defTabSz="9789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table_title_2}</a:t>
            </a: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9CF6D60C-5790-5314-F9F3-66E6D5DA0DDB}"/>
              </a:ext>
            </a:extLst>
          </p:cNvPr>
          <p:cNvSpPr>
            <a:spLocks/>
          </p:cNvSpPr>
          <p:nvPr/>
        </p:nvSpPr>
        <p:spPr bwMode="gray">
          <a:xfrm>
            <a:off x="2295357" y="2703658"/>
            <a:ext cx="1147750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marL="0" marR="0" lvl="0" indent="0" algn="ctr" defTabSz="9789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table_title_1}</a:t>
            </a:r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D6D92C36-290E-1C21-098C-8647293FF926}"/>
              </a:ext>
            </a:extLst>
          </p:cNvPr>
          <p:cNvSpPr>
            <a:spLocks/>
          </p:cNvSpPr>
          <p:nvPr/>
        </p:nvSpPr>
        <p:spPr bwMode="gray">
          <a:xfrm>
            <a:off x="7657926" y="5225155"/>
            <a:ext cx="1200905" cy="6463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vl="0" algn="ctr">
              <a:spcBef>
                <a:spcPts val="1000"/>
              </a:spcBef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table_title_1_bullet_1_content}</a:t>
            </a: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C08F0200-6109-52E2-8B24-4242E4811260}"/>
              </a:ext>
            </a:extLst>
          </p:cNvPr>
          <p:cNvSpPr>
            <a:spLocks/>
          </p:cNvSpPr>
          <p:nvPr/>
        </p:nvSpPr>
        <p:spPr bwMode="gray">
          <a:xfrm>
            <a:off x="407988" y="5394433"/>
            <a:ext cx="1289444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vl="0" defTabSz="978998">
              <a:defRPr/>
            </a:pPr>
            <a:r>
              <a:rPr lang="en-US" altLang="zh-CN" sz="2000" dirty="0">
                <a:solidFill>
                  <a:srgbClr val="1A7449"/>
                </a:solidFill>
              </a:rPr>
              <a:t>{bullet_3}</a:t>
            </a:r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id="{D88FF0EC-8BFE-77BC-0378-3FE2A1E964A1}"/>
              </a:ext>
            </a:extLst>
          </p:cNvPr>
          <p:cNvSpPr>
            <a:spLocks/>
          </p:cNvSpPr>
          <p:nvPr/>
        </p:nvSpPr>
        <p:spPr bwMode="gray">
          <a:xfrm>
            <a:off x="6400664" y="5225156"/>
            <a:ext cx="1022151" cy="6463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vl="0" algn="ctr">
              <a:spcBef>
                <a:spcPts val="1000"/>
              </a:spcBef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table_title_1_bullet_1_content}</a:t>
            </a:r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id="{73F66B8F-A53E-4D28-1521-DD490E3A94AE}"/>
              </a:ext>
            </a:extLst>
          </p:cNvPr>
          <p:cNvSpPr>
            <a:spLocks/>
          </p:cNvSpPr>
          <p:nvPr/>
        </p:nvSpPr>
        <p:spPr bwMode="gray">
          <a:xfrm>
            <a:off x="9093944" y="5225155"/>
            <a:ext cx="1217498" cy="6463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vl="0" algn="ctr">
              <a:spcBef>
                <a:spcPts val="1000"/>
              </a:spcBef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table_title_1_bullet_1_content}</a:t>
            </a:r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id="{19666B31-758E-C701-740C-88F5D6349D2F}"/>
              </a:ext>
            </a:extLst>
          </p:cNvPr>
          <p:cNvSpPr>
            <a:spLocks/>
          </p:cNvSpPr>
          <p:nvPr/>
        </p:nvSpPr>
        <p:spPr bwMode="gray">
          <a:xfrm>
            <a:off x="7660317" y="4206001"/>
            <a:ext cx="1200905" cy="6463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vl="0" algn="ctr">
              <a:spcBef>
                <a:spcPts val="1000"/>
              </a:spcBef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table_title_1_bullet_1_content}</a:t>
            </a:r>
          </a:p>
        </p:txBody>
      </p:sp>
      <p:sp>
        <p:nvSpPr>
          <p:cNvPr id="20" name="Rectangle 3">
            <a:extLst>
              <a:ext uri="{FF2B5EF4-FFF2-40B4-BE49-F238E27FC236}">
                <a16:creationId xmlns:a16="http://schemas.microsoft.com/office/drawing/2014/main" id="{C72A1A70-1ECC-BCD1-654F-BDE50D1B6681}"/>
              </a:ext>
            </a:extLst>
          </p:cNvPr>
          <p:cNvSpPr>
            <a:spLocks/>
          </p:cNvSpPr>
          <p:nvPr/>
        </p:nvSpPr>
        <p:spPr bwMode="gray">
          <a:xfrm>
            <a:off x="407988" y="4375279"/>
            <a:ext cx="1289444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vl="0" defTabSz="978998">
              <a:defRPr/>
            </a:pPr>
            <a:r>
              <a:rPr lang="en-US" altLang="zh-CN" sz="2000" dirty="0">
                <a:solidFill>
                  <a:srgbClr val="1A7449"/>
                </a:solidFill>
              </a:rPr>
              <a:t>{bullet_2}</a:t>
            </a:r>
          </a:p>
        </p:txBody>
      </p:sp>
      <p:sp>
        <p:nvSpPr>
          <p:cNvPr id="21" name="Rectangle 3">
            <a:extLst>
              <a:ext uri="{FF2B5EF4-FFF2-40B4-BE49-F238E27FC236}">
                <a16:creationId xmlns:a16="http://schemas.microsoft.com/office/drawing/2014/main" id="{B1D67EC6-82C8-EF67-2BCB-458F972DCC87}"/>
              </a:ext>
            </a:extLst>
          </p:cNvPr>
          <p:cNvSpPr>
            <a:spLocks/>
          </p:cNvSpPr>
          <p:nvPr/>
        </p:nvSpPr>
        <p:spPr bwMode="gray">
          <a:xfrm>
            <a:off x="6403054" y="4206002"/>
            <a:ext cx="1022151" cy="6463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vl="0" algn="ctr">
              <a:spcBef>
                <a:spcPts val="1000"/>
              </a:spcBef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table_title_1_bullet_1_content}</a:t>
            </a:r>
          </a:p>
        </p:txBody>
      </p:sp>
      <p:sp>
        <p:nvSpPr>
          <p:cNvPr id="22" name="Rectangle 3">
            <a:extLst>
              <a:ext uri="{FF2B5EF4-FFF2-40B4-BE49-F238E27FC236}">
                <a16:creationId xmlns:a16="http://schemas.microsoft.com/office/drawing/2014/main" id="{9DA4A57A-35DC-E3E2-8DA4-40FE72ECB13E}"/>
              </a:ext>
            </a:extLst>
          </p:cNvPr>
          <p:cNvSpPr>
            <a:spLocks/>
          </p:cNvSpPr>
          <p:nvPr/>
        </p:nvSpPr>
        <p:spPr bwMode="gray">
          <a:xfrm>
            <a:off x="9096333" y="4206001"/>
            <a:ext cx="1217498" cy="6463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vl="0" algn="ctr">
              <a:spcBef>
                <a:spcPts val="1000"/>
              </a:spcBef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table_title_1_bullet_1_content}</a:t>
            </a:r>
          </a:p>
        </p:txBody>
      </p:sp>
      <p:sp>
        <p:nvSpPr>
          <p:cNvPr id="23" name="Rectangle 3">
            <a:extLst>
              <a:ext uri="{FF2B5EF4-FFF2-40B4-BE49-F238E27FC236}">
                <a16:creationId xmlns:a16="http://schemas.microsoft.com/office/drawing/2014/main" id="{7856B860-BC81-FDA1-E6A1-E8EC3DBF22AC}"/>
              </a:ext>
            </a:extLst>
          </p:cNvPr>
          <p:cNvSpPr>
            <a:spLocks/>
          </p:cNvSpPr>
          <p:nvPr/>
        </p:nvSpPr>
        <p:spPr bwMode="gray">
          <a:xfrm>
            <a:off x="7662707" y="3186847"/>
            <a:ext cx="1200905" cy="6463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vl="0" algn="ctr">
              <a:spcBef>
                <a:spcPts val="1000"/>
              </a:spcBef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table_title_1_bullet_1_content}</a:t>
            </a:r>
          </a:p>
        </p:txBody>
      </p:sp>
      <p:sp>
        <p:nvSpPr>
          <p:cNvPr id="24" name="Rectangle 3">
            <a:extLst>
              <a:ext uri="{FF2B5EF4-FFF2-40B4-BE49-F238E27FC236}">
                <a16:creationId xmlns:a16="http://schemas.microsoft.com/office/drawing/2014/main" id="{3AA54D87-BE6C-E5E1-D9F3-40BBD93437B5}"/>
              </a:ext>
            </a:extLst>
          </p:cNvPr>
          <p:cNvSpPr>
            <a:spLocks/>
          </p:cNvSpPr>
          <p:nvPr/>
        </p:nvSpPr>
        <p:spPr bwMode="gray">
          <a:xfrm>
            <a:off x="407988" y="3356125"/>
            <a:ext cx="1289444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789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1}</a:t>
            </a:r>
          </a:p>
        </p:txBody>
      </p:sp>
      <p:sp>
        <p:nvSpPr>
          <p:cNvPr id="25" name="Rectangle 3">
            <a:extLst>
              <a:ext uri="{FF2B5EF4-FFF2-40B4-BE49-F238E27FC236}">
                <a16:creationId xmlns:a16="http://schemas.microsoft.com/office/drawing/2014/main" id="{2C5948F2-208B-CA87-F293-0830D184B795}"/>
              </a:ext>
            </a:extLst>
          </p:cNvPr>
          <p:cNvSpPr>
            <a:spLocks/>
          </p:cNvSpPr>
          <p:nvPr/>
        </p:nvSpPr>
        <p:spPr bwMode="gray">
          <a:xfrm>
            <a:off x="6405444" y="3186848"/>
            <a:ext cx="1022151" cy="6463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vl="0" algn="ctr">
              <a:spcBef>
                <a:spcPts val="1000"/>
              </a:spcBef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table_title_1_bullet_1_content}</a:t>
            </a:r>
          </a:p>
        </p:txBody>
      </p:sp>
      <p:sp>
        <p:nvSpPr>
          <p:cNvPr id="26" name="Rectangle 3">
            <a:extLst>
              <a:ext uri="{FF2B5EF4-FFF2-40B4-BE49-F238E27FC236}">
                <a16:creationId xmlns:a16="http://schemas.microsoft.com/office/drawing/2014/main" id="{D54E2D92-FDA5-FFCF-1A1F-971A6DBB9901}"/>
              </a:ext>
            </a:extLst>
          </p:cNvPr>
          <p:cNvSpPr>
            <a:spLocks/>
          </p:cNvSpPr>
          <p:nvPr/>
        </p:nvSpPr>
        <p:spPr bwMode="gray">
          <a:xfrm>
            <a:off x="9098724" y="3186847"/>
            <a:ext cx="1217498" cy="6463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vl="0" algn="ctr">
              <a:spcBef>
                <a:spcPts val="1000"/>
              </a:spcBef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table_title_1_bullet_1_content}</a:t>
            </a:r>
          </a:p>
        </p:txBody>
      </p:sp>
      <p:cxnSp>
        <p:nvCxnSpPr>
          <p:cNvPr id="27" name="Gerader Verbinder 33">
            <a:extLst>
              <a:ext uri="{FF2B5EF4-FFF2-40B4-BE49-F238E27FC236}">
                <a16:creationId xmlns:a16="http://schemas.microsoft.com/office/drawing/2014/main" id="{E49157CD-9D0A-5FDE-9314-61BF08A6687C}"/>
              </a:ext>
            </a:extLst>
          </p:cNvPr>
          <p:cNvCxnSpPr>
            <a:cxnSpLocks/>
          </p:cNvCxnSpPr>
          <p:nvPr/>
        </p:nvCxnSpPr>
        <p:spPr bwMode="gray">
          <a:xfrm>
            <a:off x="418603" y="3000436"/>
            <a:ext cx="11381578" cy="0"/>
          </a:xfrm>
          <a:prstGeom prst="line">
            <a:avLst/>
          </a:prstGeom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2C29F17F-1BFF-6F76-CE05-F43680273EB4}"/>
              </a:ext>
            </a:extLst>
          </p:cNvPr>
          <p:cNvSpPr txBox="1">
            <a:spLocks/>
          </p:cNvSpPr>
          <p:nvPr/>
        </p:nvSpPr>
        <p:spPr>
          <a:xfrm>
            <a:off x="2126241" y="3294570"/>
            <a:ext cx="1468529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400" dirty="0">
                <a:solidFill>
                  <a:srgbClr val="575757"/>
                </a:solidFill>
                <a:latin typeface="理想品牌字体 2022"/>
                <a:ea typeface="理想品牌字体 2022"/>
              </a:rPr>
              <a:t>{table_title_1_bullet_1_content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9" name="Inhaltsplatzhalter 2">
            <a:extLst>
              <a:ext uri="{FF2B5EF4-FFF2-40B4-BE49-F238E27FC236}">
                <a16:creationId xmlns:a16="http://schemas.microsoft.com/office/drawing/2014/main" id="{DB138F48-E01F-E84D-5469-106FF4F05C13}"/>
              </a:ext>
            </a:extLst>
          </p:cNvPr>
          <p:cNvSpPr txBox="1">
            <a:spLocks/>
          </p:cNvSpPr>
          <p:nvPr/>
        </p:nvSpPr>
        <p:spPr>
          <a:xfrm>
            <a:off x="4265842" y="3290980"/>
            <a:ext cx="1468529" cy="4380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table_title_1_bullet_1_content}</a:t>
            </a:r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F149EC9C-7EC4-21B1-1C40-AFA1DB2AAF11}"/>
              </a:ext>
            </a:extLst>
          </p:cNvPr>
          <p:cNvSpPr txBox="1">
            <a:spLocks/>
          </p:cNvSpPr>
          <p:nvPr/>
        </p:nvSpPr>
        <p:spPr>
          <a:xfrm>
            <a:off x="2126241" y="4310134"/>
            <a:ext cx="1468529" cy="4380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table_title_1_bullet_1_content}</a:t>
            </a:r>
          </a:p>
        </p:txBody>
      </p:sp>
      <p:sp>
        <p:nvSpPr>
          <p:cNvPr id="31" name="Inhaltsplatzhalter 2">
            <a:extLst>
              <a:ext uri="{FF2B5EF4-FFF2-40B4-BE49-F238E27FC236}">
                <a16:creationId xmlns:a16="http://schemas.microsoft.com/office/drawing/2014/main" id="{86BAFAF3-C83F-6602-A435-987C3226E913}"/>
              </a:ext>
            </a:extLst>
          </p:cNvPr>
          <p:cNvSpPr txBox="1">
            <a:spLocks/>
          </p:cNvSpPr>
          <p:nvPr/>
        </p:nvSpPr>
        <p:spPr>
          <a:xfrm>
            <a:off x="4265842" y="4313724"/>
            <a:ext cx="1468529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sz="1400" dirty="0">
                <a:solidFill>
                  <a:srgbClr val="575757"/>
                </a:solidFill>
              </a:rPr>
              <a:t>{table_title_1_bullet_1_content}</a:t>
            </a:r>
          </a:p>
        </p:txBody>
      </p:sp>
      <p:sp>
        <p:nvSpPr>
          <p:cNvPr id="32" name="Inhaltsplatzhalter 2">
            <a:extLst>
              <a:ext uri="{FF2B5EF4-FFF2-40B4-BE49-F238E27FC236}">
                <a16:creationId xmlns:a16="http://schemas.microsoft.com/office/drawing/2014/main" id="{EBE8A345-7232-E44A-1B88-542CF605524D}"/>
              </a:ext>
            </a:extLst>
          </p:cNvPr>
          <p:cNvSpPr txBox="1">
            <a:spLocks/>
          </p:cNvSpPr>
          <p:nvPr/>
        </p:nvSpPr>
        <p:spPr>
          <a:xfrm>
            <a:off x="2126241" y="5329288"/>
            <a:ext cx="1468529" cy="4380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table_title_1_bullet_1_content}</a:t>
            </a:r>
          </a:p>
        </p:txBody>
      </p:sp>
      <p:sp>
        <p:nvSpPr>
          <p:cNvPr id="33" name="Inhaltsplatzhalter 2">
            <a:extLst>
              <a:ext uri="{FF2B5EF4-FFF2-40B4-BE49-F238E27FC236}">
                <a16:creationId xmlns:a16="http://schemas.microsoft.com/office/drawing/2014/main" id="{5B9CB899-FFE8-6A48-74B0-2B2F61F60F64}"/>
              </a:ext>
            </a:extLst>
          </p:cNvPr>
          <p:cNvSpPr txBox="1">
            <a:spLocks/>
          </p:cNvSpPr>
          <p:nvPr/>
        </p:nvSpPr>
        <p:spPr>
          <a:xfrm>
            <a:off x="4265842" y="5329288"/>
            <a:ext cx="1468529" cy="4380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table_title_1_bullet_1_content}</a:t>
            </a:r>
          </a:p>
        </p:txBody>
      </p:sp>
      <p:cxnSp>
        <p:nvCxnSpPr>
          <p:cNvPr id="34" name="Gerader Verbinder 41">
            <a:extLst>
              <a:ext uri="{FF2B5EF4-FFF2-40B4-BE49-F238E27FC236}">
                <a16:creationId xmlns:a16="http://schemas.microsoft.com/office/drawing/2014/main" id="{C5CB3FEF-F0E0-B6F3-893A-04E735349296}"/>
              </a:ext>
            </a:extLst>
          </p:cNvPr>
          <p:cNvCxnSpPr>
            <a:cxnSpLocks/>
          </p:cNvCxnSpPr>
          <p:nvPr/>
        </p:nvCxnSpPr>
        <p:spPr bwMode="gray">
          <a:xfrm>
            <a:off x="418603" y="4019590"/>
            <a:ext cx="11381578" cy="0"/>
          </a:xfrm>
          <a:prstGeom prst="line">
            <a:avLst/>
          </a:prstGeom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42">
            <a:extLst>
              <a:ext uri="{FF2B5EF4-FFF2-40B4-BE49-F238E27FC236}">
                <a16:creationId xmlns:a16="http://schemas.microsoft.com/office/drawing/2014/main" id="{5D18E1D7-08DC-0F0C-71F3-2CA139F2EE13}"/>
              </a:ext>
            </a:extLst>
          </p:cNvPr>
          <p:cNvCxnSpPr>
            <a:cxnSpLocks/>
          </p:cNvCxnSpPr>
          <p:nvPr/>
        </p:nvCxnSpPr>
        <p:spPr bwMode="gray">
          <a:xfrm>
            <a:off x="418603" y="5038744"/>
            <a:ext cx="11381578" cy="0"/>
          </a:xfrm>
          <a:prstGeom prst="line">
            <a:avLst/>
          </a:prstGeom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43">
            <a:extLst>
              <a:ext uri="{FF2B5EF4-FFF2-40B4-BE49-F238E27FC236}">
                <a16:creationId xmlns:a16="http://schemas.microsoft.com/office/drawing/2014/main" id="{0E83E0DD-F446-0876-87D7-D6EA11572933}"/>
              </a:ext>
            </a:extLst>
          </p:cNvPr>
          <p:cNvCxnSpPr>
            <a:cxnSpLocks/>
          </p:cNvCxnSpPr>
          <p:nvPr/>
        </p:nvCxnSpPr>
        <p:spPr bwMode="gray">
          <a:xfrm>
            <a:off x="418603" y="6057899"/>
            <a:ext cx="11381578" cy="0"/>
          </a:xfrm>
          <a:prstGeom prst="line">
            <a:avLst/>
          </a:prstGeom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 Placeholder 15">
            <a:extLst>
              <a:ext uri="{FF2B5EF4-FFF2-40B4-BE49-F238E27FC236}">
                <a16:creationId xmlns:a16="http://schemas.microsoft.com/office/drawing/2014/main" id="{80DABB18-0903-05E5-018F-4434BF6E97D8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17367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tables, percent, percentage</a:t>
            </a:r>
          </a:p>
        </p:txBody>
      </p:sp>
    </p:spTree>
    <p:extLst>
      <p:ext uri="{BB962C8B-B14F-4D97-AF65-F5344CB8AC3E}">
        <p14:creationId xmlns:p14="http://schemas.microsoft.com/office/powerpoint/2010/main" val="32525747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0</TotalTime>
  <Words>255</Words>
  <Application>Microsoft Office PowerPoint</Application>
  <PresentationFormat>宽屏</PresentationFormat>
  <Paragraphs>25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9" baseType="lpstr"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2</cp:revision>
  <dcterms:created xsi:type="dcterms:W3CDTF">2025-09-08T07:30:23Z</dcterms:created>
  <dcterms:modified xsi:type="dcterms:W3CDTF">2025-09-08T09:20:26Z</dcterms:modified>
</cp:coreProperties>
</file>